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96E-5418-147A-5990-B1DAA473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CCDFEA-F894-750A-5413-6F7108F8A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CDFEA-F894-750A-5413-6F7108F8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5BC2B-95AB-CF14-8ACC-9CF4426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4534316-5B95-D7F9-6958-250E530AE4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D2AAE1-DB17-D549-6E71-9C9CB934FF81}"/>
              </a:ext>
            </a:extLst>
          </p:cNvPr>
          <p:cNvGraphicFramePr>
            <a:graphicFrameLocks noGrp="1"/>
          </p:cNvGraphicFramePr>
          <p:nvPr/>
        </p:nvGraphicFramePr>
        <p:xfrm>
          <a:off x="754521" y="1282304"/>
          <a:ext cx="10682958" cy="4166616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267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0</TotalTime>
  <Words>20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81</cp:revision>
  <dcterms:created xsi:type="dcterms:W3CDTF">2021-03-31T02:49:57Z</dcterms:created>
  <dcterms:modified xsi:type="dcterms:W3CDTF">2025-10-16T10:41:32Z</dcterms:modified>
  <cp:category/>
</cp:coreProperties>
</file>